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6" r:id="rId1"/>
  </p:sldMasterIdLst>
  <p:notesMasterIdLst>
    <p:notesMasterId r:id="rId9"/>
  </p:notesMasterIdLst>
  <p:sldIdLst>
    <p:sldId id="295" r:id="rId2"/>
    <p:sldId id="274" r:id="rId3"/>
    <p:sldId id="296" r:id="rId4"/>
    <p:sldId id="294" r:id="rId5"/>
    <p:sldId id="297" r:id="rId6"/>
    <p:sldId id="293" r:id="rId7"/>
    <p:sldId id="291" r:id="rId8"/>
  </p:sldIdLst>
  <p:sldSz cx="12192000" cy="6858000"/>
  <p:notesSz cx="7102475" cy="8991600"/>
  <p:embeddedFontLst>
    <p:embeddedFont>
      <p:font typeface="Calibri" panose="020F0502020204030204" pitchFamily="34" charset="0"/>
      <p:regular r:id="rId10"/>
      <p:bold r:id="rId11"/>
      <p:italic r:id="rId12"/>
      <p:boldItalic r:id="rId13"/>
    </p:embeddedFont>
    <p:embeddedFont>
      <p:font typeface="Dosis" panose="020B0604020202020204" charset="0"/>
      <p:regular r:id="rId14"/>
      <p:bold r:id="rId15"/>
    </p:embeddedFont>
    <p:embeddedFont>
      <p:font typeface="Source Sans Pro" panose="020B0503030403020204" pitchFamily="34" charset="0"/>
      <p:regular r:id="rId16"/>
      <p:bold r:id="rId17"/>
      <p:italic r:id="rId18"/>
      <p:boldItalic r:id="rId19"/>
    </p:embeddedFont>
  </p:embeddedFontLst>
  <p:custDataLst>
    <p:tags r:id="rId2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2" pos="3864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oundtripDataSignature="AMtx7mgadUdIU+S6umSfNgCcTuOdWtvndg==" r:id="rId47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issy M Giacoman" initials="" lastIdx="1" clrIdx="0"/>
  <p:cmAuthor id="1" name="Sofía Sada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3743"/>
    <a:srgbClr val="9CB0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BE57F34-2C81-4C7C-A16B-45A069814D99}">
  <a:tblStyle styleId="{BBE57F34-2C81-4C7C-A16B-45A069814D99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2F2F2"/>
          </a:solidFill>
        </a:fill>
      </a:tcStyle>
    </a:wholeTbl>
    <a:band1H>
      <a:tcTxStyle b="off" i="off"/>
      <a:tcStyle>
        <a:tcBdr/>
        <a:fill>
          <a:solidFill>
            <a:srgbClr val="E4E4E4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E4E4E4"/>
          </a:solidFill>
        </a:fill>
      </a:tcStyle>
    </a:band1V>
    <a:band2V>
      <a:tcTxStyle b="off" i="off"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254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2F2F2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/>
      <a:tcStyle>
        <a:tcBdr/>
        <a:fill>
          <a:solidFill>
            <a:srgbClr val="F2F2F2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85965" autoAdjust="0"/>
  </p:normalViewPr>
  <p:slideViewPr>
    <p:cSldViewPr snapToGrid="0">
      <p:cViewPr varScale="1">
        <p:scale>
          <a:sx n="106" d="100"/>
          <a:sy n="106" d="100"/>
        </p:scale>
        <p:origin x="144" y="228"/>
      </p:cViewPr>
      <p:guideLst>
        <p:guide pos="3864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47" Type="http://customschemas.google.com/relationships/presentationmetadata" Target="metadata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49" Type="http://schemas.openxmlformats.org/officeDocument/2006/relationships/presProps" Target="presProps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5.fntdata"/><Relationship Id="rId48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022725" y="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852488" y="1123950"/>
            <a:ext cx="5397500" cy="30353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09613" y="4327525"/>
            <a:ext cx="5683250" cy="354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54075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022725" y="854075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" name="Google Shape;553;p16:notes"/>
          <p:cNvSpPr txBox="1">
            <a:spLocks noGrp="1"/>
          </p:cNvSpPr>
          <p:nvPr>
            <p:ph type="body" idx="1"/>
          </p:nvPr>
        </p:nvSpPr>
        <p:spPr>
          <a:xfrm>
            <a:off x="709613" y="4327525"/>
            <a:ext cx="5683250" cy="354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554" name="Google Shape;55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852488" y="1123950"/>
            <a:ext cx="5397500" cy="30353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24"/>
          <p:cNvSpPr/>
          <p:nvPr/>
        </p:nvSpPr>
        <p:spPr>
          <a:xfrm flipH="1">
            <a:off x="-100" y="0"/>
            <a:ext cx="8928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24"/>
          <p:cNvSpPr/>
          <p:nvPr/>
        </p:nvSpPr>
        <p:spPr>
          <a:xfrm flipH="1">
            <a:off x="-100" y="0"/>
            <a:ext cx="892800" cy="152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" name="Google Shape;36;p24"/>
          <p:cNvSpPr txBox="1">
            <a:spLocks noGrp="1"/>
          </p:cNvSpPr>
          <p:nvPr>
            <p:ph type="title"/>
          </p:nvPr>
        </p:nvSpPr>
        <p:spPr>
          <a:xfrm>
            <a:off x="1125900" y="7464"/>
            <a:ext cx="9946052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600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24"/>
          <p:cNvSpPr txBox="1">
            <a:spLocks noGrp="1"/>
          </p:cNvSpPr>
          <p:nvPr>
            <p:ph type="body" idx="1"/>
          </p:nvPr>
        </p:nvSpPr>
        <p:spPr>
          <a:xfrm>
            <a:off x="1125900" y="2050767"/>
            <a:ext cx="6892000" cy="45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2400"/>
              <a:buFont typeface="Source Sans Pro"/>
              <a:buChar char="◆"/>
              <a:defRPr sz="260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▸"/>
              <a:defRPr/>
            </a:lvl2pPr>
            <a:lvl3pPr marL="1371600" lvl="2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⬩"/>
              <a:defRPr/>
            </a:lvl3pPr>
            <a:lvl4pPr marL="1828800" lvl="3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⬞"/>
              <a:defRPr sz="3200"/>
            </a:lvl4pPr>
            <a:lvl5pPr marL="2286000" lvl="4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○"/>
              <a:defRPr sz="3200"/>
            </a:lvl5pPr>
            <a:lvl6pPr marL="2743200" lvl="5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■"/>
              <a:defRPr sz="3200"/>
            </a:lvl6pPr>
            <a:lvl7pPr marL="3200400" lvl="6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●"/>
              <a:defRPr sz="3200"/>
            </a:lvl7pPr>
            <a:lvl8pPr marL="3657600" lvl="7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○"/>
              <a:defRPr sz="3200"/>
            </a:lvl8pPr>
            <a:lvl9pPr marL="4114800" lvl="8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■"/>
              <a:defRPr sz="3200"/>
            </a:lvl9pPr>
          </a:lstStyle>
          <a:p>
            <a:endParaRPr/>
          </a:p>
        </p:txBody>
      </p:sp>
      <p:sp>
        <p:nvSpPr>
          <p:cNvPr id="38" name="Google Shape;38;p24"/>
          <p:cNvSpPr txBox="1"/>
          <p:nvPr/>
        </p:nvSpPr>
        <p:spPr>
          <a:xfrm>
            <a:off x="2049037" y="5338000"/>
            <a:ext cx="892800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</a:pPr>
            <a:fld id="{00000000-1234-1234-1234-123412341234}" type="slidenum">
              <a:rPr lang="en-US"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3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" name="Google Shape;39;p24"/>
          <p:cNvSpPr txBox="1">
            <a:spLocks noGrp="1"/>
          </p:cNvSpPr>
          <p:nvPr>
            <p:ph type="sldNum" idx="12"/>
          </p:nvPr>
        </p:nvSpPr>
        <p:spPr>
          <a:xfrm>
            <a:off x="-100" y="4560000"/>
            <a:ext cx="892800" cy="22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9994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822873-37F7-4DB9-87FB-45F268A692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46000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6" name="Google Shape;136;p25"/>
          <p:cNvSpPr txBox="1">
            <a:spLocks noGrp="1"/>
          </p:cNvSpPr>
          <p:nvPr>
            <p:ph type="title"/>
          </p:nvPr>
        </p:nvSpPr>
        <p:spPr>
          <a:xfrm>
            <a:off x="1125900" y="7464"/>
            <a:ext cx="9946052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9pPr>
          </a:lstStyle>
          <a:p>
            <a:endParaRPr/>
          </a:p>
        </p:txBody>
      </p:sp>
      <p:sp>
        <p:nvSpPr>
          <p:cNvPr id="137" name="Google Shape;137;p25"/>
          <p:cNvSpPr txBox="1">
            <a:spLocks noGrp="1"/>
          </p:cNvSpPr>
          <p:nvPr>
            <p:ph type="body" idx="1"/>
          </p:nvPr>
        </p:nvSpPr>
        <p:spPr>
          <a:xfrm>
            <a:off x="1125900" y="2050767"/>
            <a:ext cx="6892000" cy="45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191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Source Sans Pro"/>
              <a:buChar char="▹"/>
              <a:defRPr sz="3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Source Sans Pro"/>
              <a:buChar char="▸"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Source Sans Pro"/>
              <a:buChar char="⬩"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⬞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○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■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●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○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■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8" name="Google Shape;138;p25"/>
          <p:cNvSpPr txBox="1">
            <a:spLocks noGrp="1"/>
          </p:cNvSpPr>
          <p:nvPr>
            <p:ph type="sldNum" idx="12"/>
          </p:nvPr>
        </p:nvSpPr>
        <p:spPr>
          <a:xfrm>
            <a:off x="-100" y="0"/>
            <a:ext cx="892800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8" r:id="rId1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051FEB-9F4A-4209-A741-C5A979E435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627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ECDFDC-980B-46B4-856E-D00EF7346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Vinco is a platform that enables company to offer education as a benefit to its employe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9B0CDF-37E5-4A6A-86A2-585109A0CE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text</a:t>
            </a:r>
          </a:p>
          <a:p>
            <a:pPr lvl="1"/>
            <a:r>
              <a:rPr lang="en-US" dirty="0"/>
              <a:t>Vinco is a startup that looks to educate the uneducated</a:t>
            </a:r>
          </a:p>
          <a:p>
            <a:pPr lvl="1"/>
            <a:r>
              <a:rPr lang="en-US" dirty="0"/>
              <a:t>Vinco links education institutions, employers and employees through a webapp</a:t>
            </a:r>
          </a:p>
          <a:p>
            <a:pPr lvl="1"/>
            <a:r>
              <a:rPr lang="en-US" dirty="0"/>
              <a:t>Vinco offers coaches that help users (employees) navigate through education and professional opportunities</a:t>
            </a:r>
          </a:p>
          <a:p>
            <a:pPr lvl="1"/>
            <a:r>
              <a:rPr lang="en-US" dirty="0"/>
              <a:t>Coaches keep track of their assigned students through their education/career progr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25BC3A-C1CF-4429-A1B9-9DBA541E8DB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211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" name="Google Shape;556;p16"/>
          <p:cNvSpPr txBox="1">
            <a:spLocks noGrp="1"/>
          </p:cNvSpPr>
          <p:nvPr>
            <p:ph type="title"/>
          </p:nvPr>
        </p:nvSpPr>
        <p:spPr>
          <a:xfrm>
            <a:off x="1125899" y="7464"/>
            <a:ext cx="10481901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dirty="0"/>
              <a:t>User story wireframe – Log in for Coaches</a:t>
            </a:r>
            <a:endParaRPr dirty="0"/>
          </a:p>
        </p:txBody>
      </p:sp>
      <p:sp>
        <p:nvSpPr>
          <p:cNvPr id="557" name="Google Shape;557;p16"/>
          <p:cNvSpPr txBox="1">
            <a:spLocks noGrp="1"/>
          </p:cNvSpPr>
          <p:nvPr>
            <p:ph type="sldNum" idx="12"/>
          </p:nvPr>
        </p:nvSpPr>
        <p:spPr>
          <a:xfrm>
            <a:off x="-100" y="4560000"/>
            <a:ext cx="892800" cy="22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</a:pPr>
            <a:fld id="{00000000-1234-1234-1234-123412341234}" type="slidenum">
              <a:rPr lang="en-US"/>
              <a:t>2</a:t>
            </a:fld>
            <a:endParaRPr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16F7988-D6E6-4F98-8782-6E4C0DF44ED8}"/>
              </a:ext>
            </a:extLst>
          </p:cNvPr>
          <p:cNvSpPr/>
          <p:nvPr/>
        </p:nvSpPr>
        <p:spPr>
          <a:xfrm>
            <a:off x="1910080" y="1849120"/>
            <a:ext cx="8575040" cy="334231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BE88E7F-96AC-4D14-963F-4E649684780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7748"/>
          <a:stretch/>
        </p:blipFill>
        <p:spPr>
          <a:xfrm>
            <a:off x="4054564" y="2214716"/>
            <a:ext cx="4082871" cy="26111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249DAD6-81BF-4CF5-BE61-70C81E51ED74}"/>
              </a:ext>
            </a:extLst>
          </p:cNvPr>
          <p:cNvSpPr txBox="1"/>
          <p:nvPr/>
        </p:nvSpPr>
        <p:spPr>
          <a:xfrm>
            <a:off x="1910080" y="5339535"/>
            <a:ext cx="54247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log in to my coach accou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CFA0C06-97D9-469E-A606-DF2AD6AD5D56}"/>
              </a:ext>
            </a:extLst>
          </p:cNvPr>
          <p:cNvSpPr txBox="1"/>
          <p:nvPr/>
        </p:nvSpPr>
        <p:spPr>
          <a:xfrm>
            <a:off x="1910080" y="5709000"/>
            <a:ext cx="54247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trying to recover my password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8F41A8-D88F-48E2-9685-B7ADA35B61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72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C3D7CB-E174-4AF0-A3C4-4D63B4B1D3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age for students </a:t>
            </a:r>
            <a:r>
              <a:rPr lang="en-US"/>
              <a:t>to write </a:t>
            </a:r>
            <a:r>
              <a:rPr lang="en-US" dirty="0"/>
              <a:t>their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14F498-1689-4502-992F-936C395CB43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pPr marL="0" lvl="0" indent="0" algn="ctr">
                <a:spcBef>
                  <a:spcPts val="0"/>
                </a:spcBef>
                <a:spcAft>
                  <a:spcPts val="0"/>
                </a:spcAft>
                <a:buNone/>
              </a:pPr>
              <a:t>3</a:t>
            </a:fld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0997AE1-5EB7-479C-AA9A-D81C7312A01C}"/>
              </a:ext>
            </a:extLst>
          </p:cNvPr>
          <p:cNvSpPr/>
          <p:nvPr/>
        </p:nvSpPr>
        <p:spPr>
          <a:xfrm>
            <a:off x="8251100" y="2783898"/>
            <a:ext cx="1884219" cy="477520"/>
          </a:xfrm>
          <a:prstGeom prst="roundRect">
            <a:avLst/>
          </a:prstGeom>
          <a:solidFill>
            <a:schemeClr val="accent5"/>
          </a:solidFill>
          <a:ln w="254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Writes Student data to the back end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6867021-2A1D-49AD-BB8E-03175E0C0A59}"/>
              </a:ext>
            </a:extLst>
          </p:cNvPr>
          <p:cNvSpPr/>
          <p:nvPr/>
        </p:nvSpPr>
        <p:spPr>
          <a:xfrm>
            <a:off x="1504083" y="2306378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udent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7B78A0A-1DEA-4F14-8776-310103EC4017}"/>
              </a:ext>
            </a:extLst>
          </p:cNvPr>
          <p:cNvSpPr/>
          <p:nvPr/>
        </p:nvSpPr>
        <p:spPr>
          <a:xfrm>
            <a:off x="1504083" y="2859891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Education Program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BF5406B-463D-4B69-BF13-74B7FB5F3B0F}"/>
              </a:ext>
            </a:extLst>
          </p:cNvPr>
          <p:cNvSpPr/>
          <p:nvPr/>
        </p:nvSpPr>
        <p:spPr>
          <a:xfrm>
            <a:off x="1504083" y="3413404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F24193A-CCD5-4F2B-AEE2-EE72A72BB3F7}"/>
              </a:ext>
            </a:extLst>
          </p:cNvPr>
          <p:cNvSpPr/>
          <p:nvPr/>
        </p:nvSpPr>
        <p:spPr>
          <a:xfrm>
            <a:off x="1504083" y="3966917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ntact Info</a:t>
            </a:r>
          </a:p>
        </p:txBody>
      </p:sp>
    </p:spTree>
    <p:extLst>
      <p:ext uri="{BB962C8B-B14F-4D97-AF65-F5344CB8AC3E}">
        <p14:creationId xmlns:p14="http://schemas.microsoft.com/office/powerpoint/2010/main" val="12742210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38D8368-8D85-4B7F-9344-1BCE862D2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5851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7C2C46-D32E-43F3-A8C9-E7EBD7F7F8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General Ros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BF5A58-9245-4B02-9DDB-9E019B5867B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pPr marL="0" lvl="0" indent="0" algn="ctr">
                <a:spcBef>
                  <a:spcPts val="0"/>
                </a:spcBef>
                <a:spcAft>
                  <a:spcPts val="0"/>
                </a:spcAft>
                <a:buNone/>
              </a:pPr>
              <a:t>4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B7F621-988A-437E-BCA3-7FBF5429F3BD}"/>
              </a:ext>
            </a:extLst>
          </p:cNvPr>
          <p:cNvSpPr/>
          <p:nvPr/>
        </p:nvSpPr>
        <p:spPr>
          <a:xfrm>
            <a:off x="1910080" y="1849120"/>
            <a:ext cx="8575040" cy="351929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77B39EF-DA10-48BD-8EEC-24C07D4DE5D8}"/>
              </a:ext>
            </a:extLst>
          </p:cNvPr>
          <p:cNvSpPr txBox="1"/>
          <p:nvPr/>
        </p:nvSpPr>
        <p:spPr>
          <a:xfrm>
            <a:off x="1910080" y="5536180"/>
            <a:ext cx="67423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 am a coach at Vinco and want to know how many students I have in charg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19B6A5E-C42D-4743-9EFE-FA46A5C8FEE8}"/>
              </a:ext>
            </a:extLst>
          </p:cNvPr>
          <p:cNvSpPr/>
          <p:nvPr/>
        </p:nvSpPr>
        <p:spPr>
          <a:xfrm>
            <a:off x="2255520" y="2104889"/>
            <a:ext cx="5700015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nrolled student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EC27EAF-EBA2-4F6D-B0D3-0D8869E415A3}"/>
              </a:ext>
            </a:extLst>
          </p:cNvPr>
          <p:cNvSpPr/>
          <p:nvPr/>
        </p:nvSpPr>
        <p:spPr>
          <a:xfrm>
            <a:off x="8278218" y="2104889"/>
            <a:ext cx="1884219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ew students waiting to be enrolle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910FEE-5B0B-4E50-B62D-2D142895AC35}"/>
              </a:ext>
            </a:extLst>
          </p:cNvPr>
          <p:cNvSpPr txBox="1"/>
          <p:nvPr/>
        </p:nvSpPr>
        <p:spPr>
          <a:xfrm>
            <a:off x="2393171" y="3864075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/>
              <a:t># of enrolled studen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6940B7B-7DF4-43AB-B155-0E3930AA0424}"/>
              </a:ext>
            </a:extLst>
          </p:cNvPr>
          <p:cNvSpPr txBox="1"/>
          <p:nvPr/>
        </p:nvSpPr>
        <p:spPr>
          <a:xfrm>
            <a:off x="2393171" y="320884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B87305-6DB9-4D69-8FEA-475EB7E82A60}"/>
              </a:ext>
            </a:extLst>
          </p:cNvPr>
          <p:cNvSpPr txBox="1"/>
          <p:nvPr/>
        </p:nvSpPr>
        <p:spPr>
          <a:xfrm>
            <a:off x="4467778" y="3864075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/>
              <a:t>Dropped out studen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6D3E03C-26FD-4297-AF10-EF7C63A07B11}"/>
              </a:ext>
            </a:extLst>
          </p:cNvPr>
          <p:cNvSpPr txBox="1"/>
          <p:nvPr/>
        </p:nvSpPr>
        <p:spPr>
          <a:xfrm>
            <a:off x="4467778" y="320884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9C5CA1F-7D36-4A64-AC3D-B24E2DC4E8C0}"/>
              </a:ext>
            </a:extLst>
          </p:cNvPr>
          <p:cNvSpPr txBox="1"/>
          <p:nvPr/>
        </p:nvSpPr>
        <p:spPr>
          <a:xfrm>
            <a:off x="6345739" y="3971796"/>
            <a:ext cx="150040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/>
              <a:t>Failing studen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C0CB944-9D56-4202-96D2-FC634F6EB309}"/>
              </a:ext>
            </a:extLst>
          </p:cNvPr>
          <p:cNvSpPr txBox="1"/>
          <p:nvPr/>
        </p:nvSpPr>
        <p:spPr>
          <a:xfrm>
            <a:off x="6345739" y="320884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EC3B999-C452-49D0-961D-31482FC2401E}"/>
              </a:ext>
            </a:extLst>
          </p:cNvPr>
          <p:cNvSpPr txBox="1"/>
          <p:nvPr/>
        </p:nvSpPr>
        <p:spPr>
          <a:xfrm>
            <a:off x="8521618" y="3421625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/>
              <a:t>Students contact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207BDC8-C8B0-423E-8481-3AAC8D8608B9}"/>
              </a:ext>
            </a:extLst>
          </p:cNvPr>
          <p:cNvSpPr txBox="1"/>
          <p:nvPr/>
        </p:nvSpPr>
        <p:spPr>
          <a:xfrm>
            <a:off x="8521618" y="276639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8F89A3E-44DA-43E8-8645-498D678A542F}"/>
              </a:ext>
            </a:extLst>
          </p:cNvPr>
          <p:cNvSpPr txBox="1"/>
          <p:nvPr/>
        </p:nvSpPr>
        <p:spPr>
          <a:xfrm>
            <a:off x="8521618" y="4579718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/>
              <a:t>Students waiting to be contacte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EE8B43-5944-425B-91FF-986F9B536236}"/>
              </a:ext>
            </a:extLst>
          </p:cNvPr>
          <p:cNvSpPr txBox="1"/>
          <p:nvPr/>
        </p:nvSpPr>
        <p:spPr>
          <a:xfrm>
            <a:off x="8521618" y="3924492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78440BF-651D-46F0-9B2F-AD5873BE8C85}"/>
              </a:ext>
            </a:extLst>
          </p:cNvPr>
          <p:cNvSpPr txBox="1"/>
          <p:nvPr/>
        </p:nvSpPr>
        <p:spPr>
          <a:xfrm>
            <a:off x="1910080" y="5857835"/>
            <a:ext cx="67423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 am a coach at Vinco and want to know how my students are do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817B23D-5121-4714-904F-35189B35516D}"/>
              </a:ext>
            </a:extLst>
          </p:cNvPr>
          <p:cNvSpPr txBox="1"/>
          <p:nvPr/>
        </p:nvSpPr>
        <p:spPr>
          <a:xfrm>
            <a:off x="1910080" y="6179490"/>
            <a:ext cx="89740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 am a coach at Vinco and want to know how many students are waiting to be enrolled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DE0BF32-2659-40B9-8DB6-30B202048276}"/>
              </a:ext>
            </a:extLst>
          </p:cNvPr>
          <p:cNvSpPr/>
          <p:nvPr/>
        </p:nvSpPr>
        <p:spPr>
          <a:xfrm>
            <a:off x="10026101" y="4360375"/>
            <a:ext cx="1884219" cy="477520"/>
          </a:xfrm>
          <a:prstGeom prst="roundRect">
            <a:avLst/>
          </a:prstGeom>
          <a:solidFill>
            <a:schemeClr val="accent5"/>
          </a:solidFill>
          <a:ln w="254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Reads non-contacted students from backen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E57BDDBB-0D99-4DE5-BA6B-3A4185B9D717}"/>
              </a:ext>
            </a:extLst>
          </p:cNvPr>
          <p:cNvSpPr/>
          <p:nvPr/>
        </p:nvSpPr>
        <p:spPr>
          <a:xfrm>
            <a:off x="10026101" y="2955861"/>
            <a:ext cx="1884219" cy="699137"/>
          </a:xfrm>
          <a:prstGeom prst="roundRect">
            <a:avLst/>
          </a:prstGeom>
          <a:solidFill>
            <a:schemeClr val="accent5"/>
          </a:solidFill>
          <a:ln w="254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Reads contacted students from backend</a:t>
            </a:r>
          </a:p>
          <a:p>
            <a:pPr algn="ctr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By current coach</a:t>
            </a:r>
          </a:p>
        </p:txBody>
      </p:sp>
    </p:spTree>
    <p:extLst>
      <p:ext uri="{BB962C8B-B14F-4D97-AF65-F5344CB8AC3E}">
        <p14:creationId xmlns:p14="http://schemas.microsoft.com/office/powerpoint/2010/main" val="7880570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E94BF033-F4E9-4C18-A0D3-0321EB5EE2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4205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96AA46-ADDD-480D-8D6D-2499D90867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Page for coaches to say they have contacted stud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791588-769B-4874-8DED-A2E09DFC586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pPr marL="0" lvl="0" indent="0" algn="ctr">
                <a:spcBef>
                  <a:spcPts val="0"/>
                </a:spcBef>
                <a:spcAft>
                  <a:spcPts val="0"/>
                </a:spcAft>
                <a:buNone/>
              </a:pPr>
              <a:t>5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06CAFB7-C763-486D-9CE2-18D8E68223E6}"/>
              </a:ext>
            </a:extLst>
          </p:cNvPr>
          <p:cNvSpPr/>
          <p:nvPr/>
        </p:nvSpPr>
        <p:spPr>
          <a:xfrm>
            <a:off x="1910080" y="1849120"/>
            <a:ext cx="8575040" cy="37945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AE9E336-9A23-4D9E-B0BE-F93228E4209F}"/>
              </a:ext>
            </a:extLst>
          </p:cNvPr>
          <p:cNvSpPr/>
          <p:nvPr/>
        </p:nvSpPr>
        <p:spPr>
          <a:xfrm>
            <a:off x="2255520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udent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6B5F577-B750-4977-A75B-055A0D71EE24}"/>
              </a:ext>
            </a:extLst>
          </p:cNvPr>
          <p:cNvSpPr/>
          <p:nvPr/>
        </p:nvSpPr>
        <p:spPr>
          <a:xfrm>
            <a:off x="8633787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ntacted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B83FE5A-864D-46E7-B4CA-8D1C3F1D3D2F}"/>
              </a:ext>
            </a:extLst>
          </p:cNvPr>
          <p:cNvSpPr/>
          <p:nvPr/>
        </p:nvSpPr>
        <p:spPr>
          <a:xfrm>
            <a:off x="3814696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ducation Program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DD10277-5933-4415-AC6D-FFA138493C05}"/>
              </a:ext>
            </a:extLst>
          </p:cNvPr>
          <p:cNvSpPr/>
          <p:nvPr/>
        </p:nvSpPr>
        <p:spPr>
          <a:xfrm>
            <a:off x="5373872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mpan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97F1EE9-61D6-4565-8770-998EA16602C4}"/>
              </a:ext>
            </a:extLst>
          </p:cNvPr>
          <p:cNvSpPr txBox="1"/>
          <p:nvPr/>
        </p:nvSpPr>
        <p:spPr>
          <a:xfrm>
            <a:off x="2255520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41A24E2-2F2E-4320-88F4-68C6E74E342C}"/>
              </a:ext>
            </a:extLst>
          </p:cNvPr>
          <p:cNvSpPr txBox="1"/>
          <p:nvPr/>
        </p:nvSpPr>
        <p:spPr>
          <a:xfrm>
            <a:off x="3814696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C7B6191-A37E-4C06-A1F1-BD2AAC7BD96C}"/>
              </a:ext>
            </a:extLst>
          </p:cNvPr>
          <p:cNvSpPr txBox="1"/>
          <p:nvPr/>
        </p:nvSpPr>
        <p:spPr>
          <a:xfrm>
            <a:off x="5373872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479579-2739-47E1-A404-D3B179BA4F03}"/>
              </a:ext>
            </a:extLst>
          </p:cNvPr>
          <p:cNvSpPr txBox="1"/>
          <p:nvPr/>
        </p:nvSpPr>
        <p:spPr>
          <a:xfrm>
            <a:off x="2255520" y="3749302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4BC445C-D1AD-4313-A42C-F7C84FE07406}"/>
              </a:ext>
            </a:extLst>
          </p:cNvPr>
          <p:cNvSpPr txBox="1"/>
          <p:nvPr/>
        </p:nvSpPr>
        <p:spPr>
          <a:xfrm>
            <a:off x="3814696" y="3749302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5F0E09E-0437-47F0-AB79-94018A56D045}"/>
              </a:ext>
            </a:extLst>
          </p:cNvPr>
          <p:cNvSpPr txBox="1"/>
          <p:nvPr/>
        </p:nvSpPr>
        <p:spPr>
          <a:xfrm>
            <a:off x="5373872" y="3749301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EFD233D-9E66-473F-A500-DD5BDAA4EF82}"/>
              </a:ext>
            </a:extLst>
          </p:cNvPr>
          <p:cNvSpPr txBox="1"/>
          <p:nvPr/>
        </p:nvSpPr>
        <p:spPr>
          <a:xfrm>
            <a:off x="2255520" y="4384304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E5BD720-31DB-4569-BD6A-99E613445571}"/>
              </a:ext>
            </a:extLst>
          </p:cNvPr>
          <p:cNvSpPr txBox="1"/>
          <p:nvPr/>
        </p:nvSpPr>
        <p:spPr>
          <a:xfrm>
            <a:off x="3814696" y="4384304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962E5A5-8A20-4BA9-9378-CDB3B344407A}"/>
              </a:ext>
            </a:extLst>
          </p:cNvPr>
          <p:cNvSpPr txBox="1"/>
          <p:nvPr/>
        </p:nvSpPr>
        <p:spPr>
          <a:xfrm>
            <a:off x="5373872" y="4384303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E54170C9-DECB-4F3B-973A-A14FAA44B52D}"/>
              </a:ext>
            </a:extLst>
          </p:cNvPr>
          <p:cNvSpPr/>
          <p:nvPr/>
        </p:nvSpPr>
        <p:spPr>
          <a:xfrm>
            <a:off x="8902106" y="3109777"/>
            <a:ext cx="879002" cy="296503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o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BFB3B2D-ABBE-43F6-84A8-59AC64FD2AF2}"/>
              </a:ext>
            </a:extLst>
          </p:cNvPr>
          <p:cNvSpPr/>
          <p:nvPr/>
        </p:nvSpPr>
        <p:spPr>
          <a:xfrm>
            <a:off x="8902106" y="3699504"/>
            <a:ext cx="879002" cy="296503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o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D20829E5-209B-49C2-A139-C3A4E1E14972}"/>
              </a:ext>
            </a:extLst>
          </p:cNvPr>
          <p:cNvSpPr/>
          <p:nvPr/>
        </p:nvSpPr>
        <p:spPr>
          <a:xfrm>
            <a:off x="8902106" y="4351388"/>
            <a:ext cx="879002" cy="296503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o</a:t>
            </a:r>
          </a:p>
        </p:txBody>
      </p:sp>
      <p:sp>
        <p:nvSpPr>
          <p:cNvPr id="40" name="Speech Bubble: Rectangle with Corners Rounded 39">
            <a:extLst>
              <a:ext uri="{FF2B5EF4-FFF2-40B4-BE49-F238E27FC236}">
                <a16:creationId xmlns:a16="http://schemas.microsoft.com/office/drawing/2014/main" id="{E270489C-3B2A-4161-AD97-3BCB86A05D3B}"/>
              </a:ext>
            </a:extLst>
          </p:cNvPr>
          <p:cNvSpPr/>
          <p:nvPr/>
        </p:nvSpPr>
        <p:spPr>
          <a:xfrm>
            <a:off x="9891077" y="1509054"/>
            <a:ext cx="2198255" cy="680132"/>
          </a:xfrm>
          <a:prstGeom prst="wedgeRoundRectCallout">
            <a:avLst>
              <a:gd name="adj1" fmla="val -27556"/>
              <a:gd name="adj2" fmla="val -67130"/>
              <a:gd name="adj3" fmla="val 16667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se students can be seen by ALL coaches</a:t>
            </a:r>
          </a:p>
        </p:txBody>
      </p:sp>
      <p:sp>
        <p:nvSpPr>
          <p:cNvPr id="41" name="Speech Bubble: Rectangle with Corners Rounded 40">
            <a:extLst>
              <a:ext uri="{FF2B5EF4-FFF2-40B4-BE49-F238E27FC236}">
                <a16:creationId xmlns:a16="http://schemas.microsoft.com/office/drawing/2014/main" id="{8108B1C3-D18B-4579-88B3-1ED9A2ABFA0D}"/>
              </a:ext>
            </a:extLst>
          </p:cNvPr>
          <p:cNvSpPr/>
          <p:nvPr/>
        </p:nvSpPr>
        <p:spPr>
          <a:xfrm>
            <a:off x="10081834" y="3507689"/>
            <a:ext cx="1816740" cy="680132"/>
          </a:xfrm>
          <a:prstGeom prst="wedgeRoundRectCallout">
            <a:avLst>
              <a:gd name="adj1" fmla="val -75194"/>
              <a:gd name="adj2" fmla="val -1905"/>
              <a:gd name="adj3" fmla="val 16667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ce clicked, it is assigned to a coach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93A9C8B4-E6F7-4FD8-BF04-FE60C2877A15}"/>
              </a:ext>
            </a:extLst>
          </p:cNvPr>
          <p:cNvSpPr/>
          <p:nvPr/>
        </p:nvSpPr>
        <p:spPr>
          <a:xfrm>
            <a:off x="10007270" y="2560683"/>
            <a:ext cx="2279905" cy="699137"/>
          </a:xfrm>
          <a:prstGeom prst="roundRect">
            <a:avLst/>
          </a:prstGeom>
          <a:solidFill>
            <a:schemeClr val="accent5"/>
          </a:solidFill>
          <a:ln w="254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Reads: non-contacted students</a:t>
            </a:r>
          </a:p>
          <a:p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Writes: moves from non-contacted to contacted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EAB45839-CF56-4377-8D7A-4F43270CA135}"/>
              </a:ext>
            </a:extLst>
          </p:cNvPr>
          <p:cNvSpPr/>
          <p:nvPr/>
        </p:nvSpPr>
        <p:spPr>
          <a:xfrm>
            <a:off x="6933048" y="2458852"/>
            <a:ext cx="1557205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ntact Info</a:t>
            </a:r>
          </a:p>
        </p:txBody>
      </p:sp>
    </p:spTree>
    <p:extLst>
      <p:ext uri="{BB962C8B-B14F-4D97-AF65-F5344CB8AC3E}">
        <p14:creationId xmlns:p14="http://schemas.microsoft.com/office/powerpoint/2010/main" val="18014647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B3DBC0-3387-4A3F-AF15-93F35B68E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 to see assigned students and statu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ADD5D7-6A5A-407E-97C6-D2AC65314A6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6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F13AAC-CA22-4097-A2A2-57EEA35FD1C2}"/>
              </a:ext>
            </a:extLst>
          </p:cNvPr>
          <p:cNvSpPr/>
          <p:nvPr/>
        </p:nvSpPr>
        <p:spPr>
          <a:xfrm>
            <a:off x="1910080" y="1849120"/>
            <a:ext cx="8575040" cy="37945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7675E61-BB09-44E0-AF05-8F0BC094FFCD}"/>
              </a:ext>
            </a:extLst>
          </p:cNvPr>
          <p:cNvSpPr/>
          <p:nvPr/>
        </p:nvSpPr>
        <p:spPr>
          <a:xfrm>
            <a:off x="2255520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udent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9CCEB5B-406F-4FA4-B6F0-2C985CD85CE8}"/>
              </a:ext>
            </a:extLst>
          </p:cNvPr>
          <p:cNvSpPr/>
          <p:nvPr/>
        </p:nvSpPr>
        <p:spPr>
          <a:xfrm>
            <a:off x="6877422" y="2458852"/>
            <a:ext cx="1047477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otivation Level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0F4BB9A-F606-44E9-830B-018EF3E1E3BD}"/>
              </a:ext>
            </a:extLst>
          </p:cNvPr>
          <p:cNvSpPr/>
          <p:nvPr/>
        </p:nvSpPr>
        <p:spPr>
          <a:xfrm>
            <a:off x="8049892" y="2458852"/>
            <a:ext cx="124493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Last contact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DB9D4CA-BBF9-498D-8726-0F02D0D0E33A}"/>
              </a:ext>
            </a:extLst>
          </p:cNvPr>
          <p:cNvSpPr/>
          <p:nvPr/>
        </p:nvSpPr>
        <p:spPr>
          <a:xfrm>
            <a:off x="9419817" y="2458852"/>
            <a:ext cx="780823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atus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9D4B735-EF0C-46B6-BF17-82E78953AD84}"/>
              </a:ext>
            </a:extLst>
          </p:cNvPr>
          <p:cNvSpPr/>
          <p:nvPr/>
        </p:nvSpPr>
        <p:spPr>
          <a:xfrm>
            <a:off x="3796154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Education Program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Speech Bubble: Rectangle with Corners Rounded 34">
            <a:extLst>
              <a:ext uri="{FF2B5EF4-FFF2-40B4-BE49-F238E27FC236}">
                <a16:creationId xmlns:a16="http://schemas.microsoft.com/office/drawing/2014/main" id="{2136E7B5-873D-4066-B7E5-81952F8F4F14}"/>
              </a:ext>
            </a:extLst>
          </p:cNvPr>
          <p:cNvSpPr/>
          <p:nvPr/>
        </p:nvSpPr>
        <p:spPr>
          <a:xfrm>
            <a:off x="3196082" y="4772463"/>
            <a:ext cx="1816740" cy="680132"/>
          </a:xfrm>
          <a:prstGeom prst="wedgeRoundRectCallout">
            <a:avLst>
              <a:gd name="adj1" fmla="val -27556"/>
              <a:gd name="adj2" fmla="val -67130"/>
              <a:gd name="adj3" fmla="val 16667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uble click on student </a:t>
            </a:r>
            <a:r>
              <a:rPr lang="es-MX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s-MX" dirty="0" err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xt</a:t>
            </a:r>
            <a:r>
              <a:rPr lang="es-MX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MX" dirty="0" err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ide</a:t>
            </a:r>
            <a:r>
              <a:rPr lang="es-MX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6C7C1C1D-0723-4E1F-A31A-029F1BD3BCBA}"/>
              </a:ext>
            </a:extLst>
          </p:cNvPr>
          <p:cNvSpPr/>
          <p:nvPr/>
        </p:nvSpPr>
        <p:spPr>
          <a:xfrm>
            <a:off x="5336788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Company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71CBD9-97A0-4831-BFEC-6988C10E39E0}"/>
              </a:ext>
            </a:extLst>
          </p:cNvPr>
          <p:cNvSpPr txBox="1"/>
          <p:nvPr/>
        </p:nvSpPr>
        <p:spPr>
          <a:xfrm>
            <a:off x="2255520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5F34BD-599B-4ECD-979C-05B8F039B455}"/>
              </a:ext>
            </a:extLst>
          </p:cNvPr>
          <p:cNvSpPr txBox="1"/>
          <p:nvPr/>
        </p:nvSpPr>
        <p:spPr>
          <a:xfrm>
            <a:off x="6894465" y="3114299"/>
            <a:ext cx="1063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-5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9025C2D-E17D-497B-AFB1-18F4E5B319AF}"/>
              </a:ext>
            </a:extLst>
          </p:cNvPr>
          <p:cNvSpPr txBox="1"/>
          <p:nvPr/>
        </p:nvSpPr>
        <p:spPr>
          <a:xfrm>
            <a:off x="8244634" y="3114299"/>
            <a:ext cx="8462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D784E04-2E54-4F0D-8AD1-ED4850BB2E8C}"/>
              </a:ext>
            </a:extLst>
          </p:cNvPr>
          <p:cNvSpPr/>
          <p:nvPr/>
        </p:nvSpPr>
        <p:spPr>
          <a:xfrm>
            <a:off x="9709876" y="3136108"/>
            <a:ext cx="264160" cy="26416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494D3F6-3727-4209-AE78-64B04F66005F}"/>
              </a:ext>
            </a:extLst>
          </p:cNvPr>
          <p:cNvSpPr txBox="1"/>
          <p:nvPr/>
        </p:nvSpPr>
        <p:spPr>
          <a:xfrm>
            <a:off x="3818496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69871C1-EF48-4D4E-ADE2-798F0485FA86}"/>
              </a:ext>
            </a:extLst>
          </p:cNvPr>
          <p:cNvSpPr txBox="1"/>
          <p:nvPr/>
        </p:nvSpPr>
        <p:spPr>
          <a:xfrm>
            <a:off x="5374859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CE1BB3-E04A-42B5-B192-CF1B3F40D256}"/>
              </a:ext>
            </a:extLst>
          </p:cNvPr>
          <p:cNvSpPr txBox="1"/>
          <p:nvPr/>
        </p:nvSpPr>
        <p:spPr>
          <a:xfrm>
            <a:off x="2255520" y="3749302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113F8FA-64BC-4898-9BA7-4704B2901563}"/>
              </a:ext>
            </a:extLst>
          </p:cNvPr>
          <p:cNvSpPr txBox="1"/>
          <p:nvPr/>
        </p:nvSpPr>
        <p:spPr>
          <a:xfrm>
            <a:off x="6894465" y="3749302"/>
            <a:ext cx="1063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-5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A12D6F0-4DFC-4526-97DD-5BBF7A8BE11A}"/>
              </a:ext>
            </a:extLst>
          </p:cNvPr>
          <p:cNvSpPr txBox="1"/>
          <p:nvPr/>
        </p:nvSpPr>
        <p:spPr>
          <a:xfrm>
            <a:off x="8244634" y="3749301"/>
            <a:ext cx="8462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D5B59CA-1470-4F5A-96F4-97BCCA715C57}"/>
              </a:ext>
            </a:extLst>
          </p:cNvPr>
          <p:cNvSpPr/>
          <p:nvPr/>
        </p:nvSpPr>
        <p:spPr>
          <a:xfrm>
            <a:off x="9709876" y="3771110"/>
            <a:ext cx="264160" cy="264160"/>
          </a:xfrm>
          <a:prstGeom prst="ellipse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1479581-8EB1-4B20-AEED-A6FAD49BB1FA}"/>
              </a:ext>
            </a:extLst>
          </p:cNvPr>
          <p:cNvSpPr txBox="1"/>
          <p:nvPr/>
        </p:nvSpPr>
        <p:spPr>
          <a:xfrm>
            <a:off x="3818496" y="3749302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2836FB7-93F7-419B-AF0A-F244A0E54DF4}"/>
              </a:ext>
            </a:extLst>
          </p:cNvPr>
          <p:cNvSpPr txBox="1"/>
          <p:nvPr/>
        </p:nvSpPr>
        <p:spPr>
          <a:xfrm>
            <a:off x="5374859" y="3749301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F86AA-EF46-438E-89D7-26B7477532C6}"/>
              </a:ext>
            </a:extLst>
          </p:cNvPr>
          <p:cNvSpPr txBox="1"/>
          <p:nvPr/>
        </p:nvSpPr>
        <p:spPr>
          <a:xfrm>
            <a:off x="2255520" y="4384304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A426E6C-0F8E-4C33-8CF1-4D844059BAA7}"/>
              </a:ext>
            </a:extLst>
          </p:cNvPr>
          <p:cNvSpPr txBox="1"/>
          <p:nvPr/>
        </p:nvSpPr>
        <p:spPr>
          <a:xfrm>
            <a:off x="6894465" y="4384304"/>
            <a:ext cx="1063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-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CBE0386-4FCE-4612-B372-1844DB4C9EC4}"/>
              </a:ext>
            </a:extLst>
          </p:cNvPr>
          <p:cNvSpPr txBox="1"/>
          <p:nvPr/>
        </p:nvSpPr>
        <p:spPr>
          <a:xfrm>
            <a:off x="8244634" y="4384303"/>
            <a:ext cx="8462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397F872-E36B-41A9-B05E-66139CD16F5A}"/>
              </a:ext>
            </a:extLst>
          </p:cNvPr>
          <p:cNvSpPr/>
          <p:nvPr/>
        </p:nvSpPr>
        <p:spPr>
          <a:xfrm>
            <a:off x="9709876" y="4406112"/>
            <a:ext cx="264160" cy="264160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FB46117-9F41-4309-852C-BDC3DE0FE27C}"/>
              </a:ext>
            </a:extLst>
          </p:cNvPr>
          <p:cNvSpPr txBox="1"/>
          <p:nvPr/>
        </p:nvSpPr>
        <p:spPr>
          <a:xfrm>
            <a:off x="3818496" y="4384304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D2BDA3F-B28B-406B-8A7F-0A03C5AE00F0}"/>
              </a:ext>
            </a:extLst>
          </p:cNvPr>
          <p:cNvSpPr txBox="1"/>
          <p:nvPr/>
        </p:nvSpPr>
        <p:spPr>
          <a:xfrm>
            <a:off x="5374859" y="4384303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B20556E-D326-4049-819F-47C0CA33E33B}"/>
              </a:ext>
            </a:extLst>
          </p:cNvPr>
          <p:cNvSpPr txBox="1"/>
          <p:nvPr/>
        </p:nvSpPr>
        <p:spPr>
          <a:xfrm>
            <a:off x="1910080" y="5840361"/>
            <a:ext cx="6584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see how all my current students are doin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2741090-D331-4050-9EC3-3B6DEF0F98CD}"/>
              </a:ext>
            </a:extLst>
          </p:cNvPr>
          <p:cNvSpPr txBox="1"/>
          <p:nvPr/>
        </p:nvSpPr>
        <p:spPr>
          <a:xfrm>
            <a:off x="1910080" y="6190894"/>
            <a:ext cx="6584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see what students I must contact</a:t>
            </a:r>
          </a:p>
        </p:txBody>
      </p:sp>
    </p:spTree>
    <p:extLst>
      <p:ext uri="{BB962C8B-B14F-4D97-AF65-F5344CB8AC3E}">
        <p14:creationId xmlns:p14="http://schemas.microsoft.com/office/powerpoint/2010/main" val="1482918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B3DBC0-3387-4A3F-AF15-93F35B68E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uble click to see communication frequency with students and let coach know they need to reach ou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ADD5D7-6A5A-407E-97C6-D2AC65314A6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7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F13AAC-CA22-4097-A2A2-57EEA35FD1C2}"/>
              </a:ext>
            </a:extLst>
          </p:cNvPr>
          <p:cNvSpPr/>
          <p:nvPr/>
        </p:nvSpPr>
        <p:spPr>
          <a:xfrm>
            <a:off x="1910080" y="1849120"/>
            <a:ext cx="8575040" cy="366677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27BD0054-4151-479C-A676-824FE1D08272}"/>
              </a:ext>
            </a:extLst>
          </p:cNvPr>
          <p:cNvSpPr/>
          <p:nvPr/>
        </p:nvSpPr>
        <p:spPr>
          <a:xfrm>
            <a:off x="3785419" y="2229200"/>
            <a:ext cx="2852406" cy="477520"/>
          </a:xfrm>
          <a:prstGeom prst="roundRect">
            <a:avLst>
              <a:gd name="adj" fmla="val 19149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ubject of conversation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D4AA4ECE-3BDC-44CC-B5D7-42193640E35C}"/>
              </a:ext>
            </a:extLst>
          </p:cNvPr>
          <p:cNvSpPr/>
          <p:nvPr/>
        </p:nvSpPr>
        <p:spPr>
          <a:xfrm>
            <a:off x="6951406" y="2229200"/>
            <a:ext cx="3220133" cy="477520"/>
          </a:xfrm>
          <a:prstGeom prst="roundRect">
            <a:avLst>
              <a:gd name="adj" fmla="val 19149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oach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Not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9D6D85A-6112-4AF7-B35F-59B3899D0AF6}"/>
              </a:ext>
            </a:extLst>
          </p:cNvPr>
          <p:cNvSpPr txBox="1"/>
          <p:nvPr/>
        </p:nvSpPr>
        <p:spPr>
          <a:xfrm>
            <a:off x="3785419" y="2857635"/>
            <a:ext cx="28524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ubject of conv. (App. questions, trouble with program, etc.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998EC6F-30F3-45AE-8613-BE747437ED0F}"/>
              </a:ext>
            </a:extLst>
          </p:cNvPr>
          <p:cNvSpPr txBox="1"/>
          <p:nvPr/>
        </p:nvSpPr>
        <p:spPr>
          <a:xfrm>
            <a:off x="6951406" y="2857635"/>
            <a:ext cx="32201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ach note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152211-41BA-42EF-B030-58FCFA00A583}"/>
              </a:ext>
            </a:extLst>
          </p:cNvPr>
          <p:cNvSpPr txBox="1"/>
          <p:nvPr/>
        </p:nvSpPr>
        <p:spPr>
          <a:xfrm>
            <a:off x="1910080" y="5840361"/>
            <a:ext cx="78140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see notes on my previous conversations with student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F6587EB-2563-4281-BFF4-517B3994908E}"/>
              </a:ext>
            </a:extLst>
          </p:cNvPr>
          <p:cNvSpPr/>
          <p:nvPr/>
        </p:nvSpPr>
        <p:spPr>
          <a:xfrm>
            <a:off x="2345639" y="2229200"/>
            <a:ext cx="1126199" cy="477520"/>
          </a:xfrm>
          <a:prstGeom prst="roundRect">
            <a:avLst>
              <a:gd name="adj" fmla="val 19149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7B4756-8534-48E0-95FC-5F96A0788090}"/>
              </a:ext>
            </a:extLst>
          </p:cNvPr>
          <p:cNvSpPr txBox="1"/>
          <p:nvPr/>
        </p:nvSpPr>
        <p:spPr>
          <a:xfrm>
            <a:off x="2359217" y="2857635"/>
            <a:ext cx="11261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56549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erimon template">
  <a:themeElements>
    <a:clrScheme name="Custom 1">
      <a:dk1>
        <a:srgbClr val="415665"/>
      </a:dk1>
      <a:lt1>
        <a:srgbClr val="FFFFFF"/>
      </a:lt1>
      <a:dk2>
        <a:srgbClr val="02AA9A"/>
      </a:dk2>
      <a:lt2>
        <a:srgbClr val="F6F6F6"/>
      </a:lt2>
      <a:accent1>
        <a:srgbClr val="2DD3C3"/>
      </a:accent1>
      <a:accent2>
        <a:srgbClr val="A7E5E9"/>
      </a:accent2>
      <a:accent3>
        <a:srgbClr val="A9D039"/>
      </a:accent3>
      <a:accent4>
        <a:srgbClr val="FFBC00"/>
      </a:accent4>
      <a:accent5>
        <a:srgbClr val="F24745"/>
      </a:accent5>
      <a:accent6>
        <a:srgbClr val="B3B3B3"/>
      </a:accent6>
      <a:hlink>
        <a:srgbClr val="0DB7C4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362</TotalTime>
  <Words>436</Words>
  <Application>Microsoft Office PowerPoint</Application>
  <PresentationFormat>Widescreen</PresentationFormat>
  <Paragraphs>96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Calibri</vt:lpstr>
      <vt:lpstr>Arial</vt:lpstr>
      <vt:lpstr>Dosis</vt:lpstr>
      <vt:lpstr>Source Sans Pro</vt:lpstr>
      <vt:lpstr>Cerimon template</vt:lpstr>
      <vt:lpstr>think-cell Slide</vt:lpstr>
      <vt:lpstr>Vinco is a platform that enables company to offer education as a benefit to its employees</vt:lpstr>
      <vt:lpstr>User story wireframe – Log in for Coaches</vt:lpstr>
      <vt:lpstr>Page for students to write their data</vt:lpstr>
      <vt:lpstr>General Roster</vt:lpstr>
      <vt:lpstr>Page for coaches to say they have contacted students</vt:lpstr>
      <vt:lpstr>Dashboard to see assigned students and status</vt:lpstr>
      <vt:lpstr>Double click to see communication frequency with students and let coach know they need to reach ou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nco</dc:title>
  <dc:creator>Lissy</dc:creator>
  <cp:lastModifiedBy>Sebastian Guevara</cp:lastModifiedBy>
  <cp:revision>122</cp:revision>
  <dcterms:created xsi:type="dcterms:W3CDTF">2020-06-26T18:06:53Z</dcterms:created>
  <dcterms:modified xsi:type="dcterms:W3CDTF">2021-03-04T16:38:37Z</dcterms:modified>
</cp:coreProperties>
</file>